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1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3D-4909-981D-9BA4AAA4C53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3D-4909-981D-9BA4AAA4C5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9292096"/>
        <c:axId val="619282496"/>
      </c:areaChart>
      <c:catAx>
        <c:axId val="61929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82496"/>
        <c:crosses val="autoZero"/>
        <c:auto val="0"/>
        <c:lblAlgn val="ctr"/>
        <c:lblOffset val="100"/>
        <c:noMultiLvlLbl val="1"/>
      </c:catAx>
      <c:valAx>
        <c:axId val="61928249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92096"/>
        <c:crosses val="autoZero"/>
        <c:crossBetween val="midCat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66-45C0-A1A4-E55E9494002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66-45C0-A1A4-E55E949400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9292096"/>
        <c:axId val="619282496"/>
      </c:areaChart>
      <c:catAx>
        <c:axId val="61929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82496"/>
        <c:crosses val="autoZero"/>
        <c:auto val="0"/>
        <c:lblAlgn val="ctr"/>
        <c:lblOffset val="100"/>
        <c:noMultiLvlLbl val="1"/>
      </c:catAx>
      <c:valAx>
        <c:axId val="61928249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92096"/>
        <c:crosses val="autoZero"/>
        <c:crossBetween val="midCat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AB37CB-8348-89E2-B378-696B416F7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F6854E-EE21-E70A-03A0-0C6FDA9D32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F6854E-EE21-E70A-03A0-0C6FDA9D32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39BF47DA-E0B5-AA98-732C-CEC178EAF9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2-100% Stacked Area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E590E34-DCFA-1028-0985-856880363D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F8BCA4F1-4BEF-6114-78F6-A4D9A1095A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AF9FD61-EC09-1657-9893-213A0E39E04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1518D1FB-4209-AC34-877F-90953F05E5B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7" name="Chart Placeholder 9">
            <a:extLst>
              <a:ext uri="{FF2B5EF4-FFF2-40B4-BE49-F238E27FC236}">
                <a16:creationId xmlns:a16="http://schemas.microsoft.com/office/drawing/2014/main" id="{286AE655-C8DB-851F-131D-86C9C467435E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hart Placeholder 9">
            <a:extLst>
              <a:ext uri="{FF2B5EF4-FFF2-40B4-BE49-F238E27FC236}">
                <a16:creationId xmlns:a16="http://schemas.microsoft.com/office/drawing/2014/main" id="{40A75F59-2969-D144-7417-A3A5D2B7BC9D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900398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1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2-100% Stacked Are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40</cp:revision>
  <dcterms:created xsi:type="dcterms:W3CDTF">2025-07-09T10:57:17Z</dcterms:created>
  <dcterms:modified xsi:type="dcterms:W3CDTF">2025-10-22T10:05:57Z</dcterms:modified>
  <cp:category/>
</cp:coreProperties>
</file>